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5"/>
  </p:notesMasterIdLst>
  <p:handoutMasterIdLst>
    <p:handoutMasterId r:id="rId6"/>
  </p:handoutMasterIdLst>
  <p:sldIdLst>
    <p:sldId id="271" r:id="rId3"/>
    <p:sldId id="295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0070FF"/>
    <a:srgbClr val="DE34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4343" autoAdjust="0"/>
  </p:normalViewPr>
  <p:slideViewPr>
    <p:cSldViewPr snapToGrid="0">
      <p:cViewPr varScale="1">
        <p:scale>
          <a:sx n="65" d="100"/>
          <a:sy n="65" d="100"/>
        </p:scale>
        <p:origin x="85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6" d="100"/>
          <a:sy n="56" d="100"/>
        </p:scale>
        <p:origin x="2856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90C8BB-D8C3-49FC-A696-B8C1C4965575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3AD702-A66C-45EF-B858-C1848DF37B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1506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AA1545-D724-4440-9217-E6E0C7A03971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6F220D-C36F-4D16-BC11-72525244A3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8819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>
          <a:xfrm>
            <a:off x="471488" y="5334000"/>
            <a:ext cx="5861050" cy="246063"/>
          </a:xfrm>
          <a:noFill/>
        </p:spPr>
        <p:txBody>
          <a:bodyPr/>
          <a:lstStyle/>
          <a:p>
            <a:endParaRPr lang="en-US" altLang="en-US" dirty="0" smtClean="0">
              <a:latin typeface="Arial" panose="020B0604020202020204" pitchFamily="34" charset="0"/>
            </a:endParaRPr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0E0539-31DD-42F9-977D-6EAF183DEF70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0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69664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6F220D-C36F-4D16-BC11-72525244A3C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58758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slideMaster" Target="../slideMasters/slideMaster2.xml"/><Relationship Id="rId18" Type="http://schemas.openxmlformats.org/officeDocument/2006/relationships/image" Target="../media/image6.png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image" Target="../media/image3.emf"/><Relationship Id="rId2" Type="http://schemas.openxmlformats.org/officeDocument/2006/relationships/tags" Target="../tags/tag31.xml"/><Relationship Id="rId16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image" Target="../media/image5.jpeg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513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432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776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7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>
            <a:off x="107990" y="492403"/>
            <a:ext cx="5412427" cy="4468877"/>
            <a:chOff x="0" y="1231697"/>
            <a:chExt cx="3692279" cy="4063693"/>
          </a:xfrm>
        </p:grpSpPr>
        <p:pic>
          <p:nvPicPr>
            <p:cNvPr id="5" name="Picture 1485" descr="C:\Users\Krithika R\Desktop\7_273_273_90.jpg"/>
            <p:cNvPicPr>
              <a:picLocks noChangeArrowheads="1"/>
            </p:cNvPicPr>
            <p:nvPr userDrawn="1">
              <p:custDataLst>
                <p:tags r:id="rId11"/>
              </p:custDataLst>
            </p:nvPr>
          </p:nvPicPr>
          <p:blipFill rotWithShape="1">
            <a:blip r:embed="rId1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0" y="1231697"/>
              <a:ext cx="3692279" cy="4063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>
              <a:spLocks/>
            </p:cNvSpPr>
            <p:nvPr userDrawn="1">
              <p:custDataLst>
                <p:tags r:id="rId12"/>
              </p:custDataLst>
            </p:nvPr>
          </p:nvSpPr>
          <p:spPr bwMode="gray">
            <a:xfrm>
              <a:off x="0" y="1231697"/>
              <a:ext cx="3692279" cy="4063693"/>
            </a:xfrm>
            <a:prstGeom prst="rect">
              <a:avLst/>
            </a:prstGeom>
            <a:solidFill>
              <a:schemeClr val="bg1">
                <a:alpha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837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7" name="Picture 1"/>
          <p:cNvPicPr>
            <a:picLocks noChangeAspect="1" noChangeArrowheads="1"/>
          </p:cNvPicPr>
          <p:nvPr userDrawn="1"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566"/>
          <a:stretch>
            <a:fillRect/>
          </a:stretch>
        </p:blipFill>
        <p:spPr bwMode="auto">
          <a:xfrm>
            <a:off x="0" y="505361"/>
            <a:ext cx="12192000" cy="55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</a:blip>
                  <a:srcRect b="12566"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auto">
          <a:xfrm>
            <a:off x="3546371" y="505360"/>
            <a:ext cx="2160" cy="4114152"/>
          </a:xfrm>
          <a:prstGeom prst="line">
            <a:avLst/>
          </a:prstGeom>
          <a:noFill/>
          <a:ln w="18360">
            <a:solidFill>
              <a:srgbClr val="0084D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1" tIns="45716" rIns="91431" bIns="45716"/>
          <a:lstStyle/>
          <a:p>
            <a:endParaRPr lang="en-US" sz="1837"/>
          </a:p>
        </p:txBody>
      </p:sp>
      <p:sp>
        <p:nvSpPr>
          <p:cNvPr id="9" name="Line 7"/>
          <p:cNvSpPr>
            <a:spLocks noChangeShapeType="1"/>
          </p:cNvSpPr>
          <p:nvPr userDrawn="1"/>
        </p:nvSpPr>
        <p:spPr bwMode="auto">
          <a:xfrm>
            <a:off x="2825002" y="505360"/>
            <a:ext cx="2160" cy="4114152"/>
          </a:xfrm>
          <a:prstGeom prst="line">
            <a:avLst/>
          </a:prstGeom>
          <a:noFill/>
          <a:ln w="36720">
            <a:solidFill>
              <a:srgbClr val="0084D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1" tIns="45716" rIns="91431" bIns="45716"/>
          <a:lstStyle/>
          <a:p>
            <a:endParaRPr lang="en-US" sz="1837"/>
          </a:p>
        </p:txBody>
      </p:sp>
      <p:sp>
        <p:nvSpPr>
          <p:cNvPr id="10" name="Line 8"/>
          <p:cNvSpPr>
            <a:spLocks noChangeShapeType="1"/>
          </p:cNvSpPr>
          <p:nvPr userDrawn="1"/>
        </p:nvSpPr>
        <p:spPr bwMode="auto">
          <a:xfrm>
            <a:off x="1961087" y="505360"/>
            <a:ext cx="0" cy="4114152"/>
          </a:xfrm>
          <a:prstGeom prst="line">
            <a:avLst/>
          </a:prstGeom>
          <a:noFill/>
          <a:ln w="73080">
            <a:solidFill>
              <a:srgbClr val="0084D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1" tIns="45716" rIns="91431" bIns="45716"/>
          <a:lstStyle/>
          <a:p>
            <a:endParaRPr lang="en-US" sz="1837"/>
          </a:p>
        </p:txBody>
      </p:sp>
      <p:sp>
        <p:nvSpPr>
          <p:cNvPr id="11" name="Line 9"/>
          <p:cNvSpPr>
            <a:spLocks noChangeShapeType="1"/>
          </p:cNvSpPr>
          <p:nvPr userDrawn="1"/>
        </p:nvSpPr>
        <p:spPr bwMode="auto">
          <a:xfrm>
            <a:off x="2969709" y="505360"/>
            <a:ext cx="2159" cy="4114152"/>
          </a:xfrm>
          <a:prstGeom prst="line">
            <a:avLst/>
          </a:prstGeom>
          <a:noFill/>
          <a:ln w="36720">
            <a:solidFill>
              <a:srgbClr val="0084D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1" tIns="45716" rIns="91431" bIns="45716"/>
          <a:lstStyle/>
          <a:p>
            <a:endParaRPr lang="en-US" sz="1837"/>
          </a:p>
        </p:txBody>
      </p:sp>
      <p:sp>
        <p:nvSpPr>
          <p:cNvPr id="12" name="Line 10"/>
          <p:cNvSpPr>
            <a:spLocks noChangeShapeType="1"/>
          </p:cNvSpPr>
          <p:nvPr userDrawn="1"/>
        </p:nvSpPr>
        <p:spPr bwMode="auto">
          <a:xfrm>
            <a:off x="760245" y="505360"/>
            <a:ext cx="2160" cy="4114152"/>
          </a:xfrm>
          <a:prstGeom prst="line">
            <a:avLst/>
          </a:prstGeom>
          <a:noFill/>
          <a:ln w="91440">
            <a:solidFill>
              <a:srgbClr val="0084D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1" tIns="45716" rIns="91431" bIns="45716"/>
          <a:lstStyle/>
          <a:p>
            <a:endParaRPr lang="en-US" sz="1837"/>
          </a:p>
        </p:txBody>
      </p:sp>
      <p:sp>
        <p:nvSpPr>
          <p:cNvPr id="13" name="Line 11"/>
          <p:cNvSpPr>
            <a:spLocks noChangeShapeType="1"/>
          </p:cNvSpPr>
          <p:nvPr userDrawn="1"/>
        </p:nvSpPr>
        <p:spPr bwMode="auto">
          <a:xfrm>
            <a:off x="328288" y="505360"/>
            <a:ext cx="2160" cy="4114152"/>
          </a:xfrm>
          <a:prstGeom prst="line">
            <a:avLst/>
          </a:prstGeom>
          <a:noFill/>
          <a:ln w="128160">
            <a:solidFill>
              <a:srgbClr val="0084D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1" tIns="45716" rIns="91431" bIns="45716"/>
          <a:lstStyle/>
          <a:p>
            <a:endParaRPr lang="en-US" sz="1837"/>
          </a:p>
        </p:txBody>
      </p:sp>
      <p:graphicFrame>
        <p:nvGraphicFramePr>
          <p:cNvPr id="14" name="Object 7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3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14" name="Object 7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US" sz="1837" dirty="0" err="1">
              <a:solidFill>
                <a:schemeClr val="tx1"/>
              </a:solidFill>
              <a:sym typeface="Arial"/>
            </a:endParaRPr>
          </a:p>
        </p:txBody>
      </p:sp>
      <p:sp>
        <p:nvSpPr>
          <p:cNvPr id="16" name="Rectangle 15"/>
          <p:cNvSpPr/>
          <p:nvPr userDrawn="1">
            <p:custDataLst>
              <p:tags r:id="rId5"/>
            </p:custDataLst>
          </p:nvPr>
        </p:nvSpPr>
        <p:spPr bwMode="gray">
          <a:xfrm>
            <a:off x="0" y="-1620"/>
            <a:ext cx="12192000" cy="68596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37" dirty="0" err="1">
              <a:solidFill>
                <a:schemeClr val="tx1"/>
              </a:solidFill>
            </a:endParaRPr>
          </a:p>
        </p:txBody>
      </p:sp>
      <p:sp>
        <p:nvSpPr>
          <p:cNvPr id="17" name="Working Draft Tex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73416" y="259160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b="1" dirty="0" smtClean="0">
                <a:solidFill>
                  <a:schemeClr val="bg1"/>
                </a:solidFill>
                <a:latin typeface="+mn-lt"/>
                <a:ea typeface="+mn-ea"/>
              </a:rPr>
              <a:t>WORKING DRAFT</a:t>
            </a:r>
          </a:p>
        </p:txBody>
      </p:sp>
      <p:sp>
        <p:nvSpPr>
          <p:cNvPr id="18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73415" y="417895"/>
            <a:ext cx="3347070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chemeClr val="bg1"/>
                </a:solidFill>
                <a:latin typeface="+mn-lt"/>
                <a:ea typeface="+mn-ea"/>
              </a:rPr>
              <a:t>Last Modified 19/11/2013 10:33 Malay Peninsula Standard Time</a:t>
            </a:r>
            <a:endParaRPr lang="en-US" sz="918" dirty="0" smtClean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9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073415" y="578250"/>
            <a:ext cx="2553584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chemeClr val="bg1"/>
                </a:solidFill>
                <a:latin typeface="+mn-lt"/>
                <a:ea typeface="+mn-ea"/>
              </a:rPr>
              <a:t>Printed 10/24/2013 4:32 PM India Standard Time</a:t>
            </a:r>
            <a:endParaRPr lang="en-US" sz="918" dirty="0" smtClean="0">
              <a:solidFill>
                <a:schemeClr val="bg1"/>
              </a:solidFill>
              <a:latin typeface="+mn-lt"/>
              <a:ea typeface="+mn-ea"/>
            </a:endParaRPr>
          </a:p>
        </p:txBody>
      </p:sp>
      <p:grpSp>
        <p:nvGrpSpPr>
          <p:cNvPr id="20" name="McK Title Element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073416" y="4493172"/>
            <a:ext cx="6714778" cy="500502"/>
            <a:chOff x="1663" y="3104"/>
            <a:chExt cx="3109" cy="309"/>
          </a:xfrm>
        </p:grpSpPr>
        <p:sp>
          <p:nvSpPr>
            <p:cNvPr id="21" name="McK Document type"/>
            <p:cNvSpPr txBox="1">
              <a:spLocks noChangeArrowheads="1"/>
            </p:cNvSpPr>
            <p:nvPr/>
          </p:nvSpPr>
          <p:spPr bwMode="gray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dirty="0" smtClean="0">
                  <a:solidFill>
                    <a:schemeClr val="accent4"/>
                  </a:solidFill>
                  <a:latin typeface="+mn-lt"/>
                  <a:ea typeface="+mn-ea"/>
                </a:rPr>
                <a:t>Document type</a:t>
              </a:r>
            </a:p>
          </p:txBody>
        </p:sp>
        <p:sp>
          <p:nvSpPr>
            <p:cNvPr id="22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dirty="0" smtClean="0">
                  <a:solidFill>
                    <a:schemeClr val="accent4"/>
                  </a:solidFill>
                  <a:latin typeface="+mn-lt"/>
                  <a:ea typeface="+mn-ea"/>
                </a:rPr>
                <a:t>Date</a:t>
              </a:r>
            </a:p>
          </p:txBody>
        </p:sp>
      </p:grpSp>
      <p:sp>
        <p:nvSpPr>
          <p:cNvPr id="31" name="doc id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11887405" y="37255"/>
            <a:ext cx="65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endParaRPr lang="en-US" altLang="en-US" sz="714" smtClean="0">
              <a:solidFill>
                <a:schemeClr val="bg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3700489" y="4841777"/>
            <a:ext cx="8337799" cy="502445"/>
          </a:xfrm>
          <a:prstGeom prst="rect">
            <a:avLst/>
          </a:prstGeom>
        </p:spPr>
        <p:txBody>
          <a:bodyPr/>
          <a:lstStyle>
            <a:lvl1pPr>
              <a:defRPr sz="3265" b="1" baseline="0">
                <a:solidFill>
                  <a:schemeClr val="accent4"/>
                </a:solidFill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700490" y="5447551"/>
            <a:ext cx="8337798" cy="222155"/>
          </a:xfrm>
        </p:spPr>
        <p:txBody>
          <a:bodyPr/>
          <a:lstStyle>
            <a:lvl1pPr>
              <a:defRPr sz="1428" baseline="0">
                <a:solidFill>
                  <a:schemeClr val="accent4"/>
                </a:solidFill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5122" name="Picture 2" descr="http://livewire.tnb.com.my/PublishingImages/Design_v1/corpinfo/LogoInfoKit/tnb%20better%20brihgter.png"/>
          <p:cNvPicPr>
            <a:picLocks noChangeAspect="1" noChangeArrowheads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5" t="17015" r="7470" b="12794"/>
          <a:stretch/>
        </p:blipFill>
        <p:spPr bwMode="auto">
          <a:xfrm>
            <a:off x="218942" y="4873182"/>
            <a:ext cx="3327430" cy="1669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0295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6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US" sz="1837" dirty="0" err="1">
              <a:solidFill>
                <a:schemeClr val="tx1"/>
              </a:solidFill>
              <a:sym typeface="Arial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 bwMode="gray">
          <a:xfrm>
            <a:off x="11519789" y="6564902"/>
            <a:ext cx="158698" cy="156966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eaLnBrk="1" hangingPunct="1">
              <a:defRPr/>
            </a:pPr>
            <a:fld id="{B66ACD0A-6563-4F17-9070-FEDE0F18E1B8}" type="slidenum">
              <a:rPr lang="en-US" sz="1020" b="1" smtClean="0">
                <a:solidFill>
                  <a:srgbClr val="FFFFFF"/>
                </a:solidFill>
                <a:ea typeface="+mn-ea"/>
              </a:rPr>
              <a:pPr algn="ctr" eaLnBrk="1" hangingPunct="1">
                <a:defRPr/>
              </a:pPr>
              <a:t>‹#›</a:t>
            </a:fld>
            <a:endParaRPr lang="en-US" sz="1020" b="1" dirty="0">
              <a:solidFill>
                <a:srgbClr val="FFFFFF"/>
              </a:solidFill>
              <a:ea typeface="+mn-ea"/>
            </a:endParaRP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0039"/>
            <a:ext cx="9715673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1837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947682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7"/>
          <p:cNvSpPr>
            <a:spLocks noChangeArrowheads="1"/>
          </p:cNvSpPr>
          <p:nvPr userDrawn="1"/>
        </p:nvSpPr>
        <p:spPr bwMode="auto">
          <a:xfrm>
            <a:off x="11310807" y="6474121"/>
            <a:ext cx="439544" cy="34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fld id="{C3E47614-91C8-42CB-BD78-BE4F29B0BE6E}" type="slidenum">
              <a:rPr lang="en-US" altLang="en-US" sz="1632" b="1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en-US" altLang="en-US" sz="1632" smtClean="0"/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0038"/>
            <a:ext cx="971567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36575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9637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838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69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696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17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54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034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326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01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9" Type="http://schemas.openxmlformats.org/officeDocument/2006/relationships/image" Target="../media/image2.png"/><Relationship Id="rId21" Type="http://schemas.openxmlformats.org/officeDocument/2006/relationships/tags" Target="../tags/tag15.xml"/><Relationship Id="rId34" Type="http://schemas.openxmlformats.org/officeDocument/2006/relationships/tags" Target="../tags/tag28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33" Type="http://schemas.openxmlformats.org/officeDocument/2006/relationships/tags" Target="../tags/tag27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29" Type="http://schemas.openxmlformats.org/officeDocument/2006/relationships/tags" Target="../tags/tag2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32" Type="http://schemas.openxmlformats.org/officeDocument/2006/relationships/tags" Target="../tags/tag26.xml"/><Relationship Id="rId37" Type="http://schemas.openxmlformats.org/officeDocument/2006/relationships/oleObject" Target="../embeddings/oleObject1.bin"/><Relationship Id="rId5" Type="http://schemas.openxmlformats.org/officeDocument/2006/relationships/theme" Target="../theme/theme2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tags" Target="../tags/tag22.xml"/><Relationship Id="rId36" Type="http://schemas.openxmlformats.org/officeDocument/2006/relationships/tags" Target="../tags/tag30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31" Type="http://schemas.openxmlformats.org/officeDocument/2006/relationships/tags" Target="../tags/tag25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tags" Target="../tags/tag21.xml"/><Relationship Id="rId30" Type="http://schemas.openxmlformats.org/officeDocument/2006/relationships/tags" Target="../tags/tag24.xml"/><Relationship Id="rId35" Type="http://schemas.openxmlformats.org/officeDocument/2006/relationships/tags" Target="../tags/tag29.xml"/><Relationship Id="rId8" Type="http://schemas.openxmlformats.org/officeDocument/2006/relationships/tags" Target="../tags/tag2.xml"/><Relationship Id="rId3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3D703D-626B-42F0-B55D-DB03AF1E8EF3}" type="datetimeFigureOut">
              <a:rPr lang="en-US" smtClean="0"/>
              <a:t>27-Dec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62F60A-75C0-4A3E-A5B8-981023175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19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" name="think-cell Slide" r:id="rId37" imgW="360" imgH="360" progId="TCLayout.ActiveDocument.1">
                  <p:embed/>
                </p:oleObj>
              </mc:Choice>
              <mc:Fallback>
                <p:oleObj name="think-cell Slide" r:id="rId37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 rot="5400000">
            <a:off x="10981279" y="2210829"/>
            <a:ext cx="223138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latin typeface="+mn-lt"/>
                <a:ea typeface="+mn-ea"/>
              </a:rPr>
              <a:t>Last Modified 19/11/2013 10:33 Malay Peninsula Standard Time</a:t>
            </a:r>
            <a:endParaRPr lang="en-US" sz="1632" dirty="0" smtClean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11243370" y="4429069"/>
            <a:ext cx="170719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latin typeface="+mn-lt"/>
                <a:ea typeface="+mn-ea"/>
              </a:rPr>
              <a:t>Printed 10/24/2013 4:32 PM India Standard Time</a:t>
            </a:r>
            <a:endParaRPr lang="en-US" sz="1632" dirty="0" smtClean="0">
              <a:latin typeface="+mn-lt"/>
              <a:ea typeface="+mn-ea"/>
            </a:endParaRPr>
          </a:p>
        </p:txBody>
      </p:sp>
      <p:grpSp>
        <p:nvGrpSpPr>
          <p:cNvPr id="1029" name="LegendBoxe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0848617" y="704590"/>
            <a:ext cx="863915" cy="1017201"/>
            <a:chOff x="4936" y="176"/>
            <a:chExt cx="400" cy="628"/>
          </a:xfrm>
        </p:grpSpPr>
        <p:sp>
          <p:nvSpPr>
            <p:cNvPr id="1076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77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/>
            </a:p>
          </p:txBody>
        </p:sp>
        <p:sp>
          <p:nvSpPr>
            <p:cNvPr id="1078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79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/>
            </a:p>
          </p:txBody>
        </p:sp>
        <p:sp>
          <p:nvSpPr>
            <p:cNvPr id="1080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81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/>
            </a:p>
          </p:txBody>
        </p:sp>
        <p:sp>
          <p:nvSpPr>
            <p:cNvPr id="1082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83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/>
            </a:p>
          </p:txBody>
        </p:sp>
      </p:grpSp>
      <p:grpSp>
        <p:nvGrpSpPr>
          <p:cNvPr id="1030" name="LegendLine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0429617" y="704590"/>
            <a:ext cx="1282913" cy="745083"/>
            <a:chOff x="4750" y="176"/>
            <a:chExt cx="594" cy="4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1073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74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75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</p:grpSp>
      <p:grpSp>
        <p:nvGrpSpPr>
          <p:cNvPr id="1031" name="McKSticker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0436089" y="704590"/>
            <a:ext cx="1451377" cy="216085"/>
            <a:chOff x="7673881" y="285750"/>
            <a:chExt cx="1066894" cy="213016"/>
          </a:xfrm>
        </p:grpSpPr>
        <p:sp>
          <p:nvSpPr>
            <p:cNvPr id="1067" name="StickerRectangle"/>
            <p:cNvSpPr>
              <a:spLocks noChangeArrowheads="1"/>
            </p:cNvSpPr>
            <p:nvPr/>
          </p:nvSpPr>
          <p:spPr bwMode="gray">
            <a:xfrm>
              <a:off x="7941240" y="285750"/>
              <a:ext cx="799535" cy="2130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068" name="AutoShape 31"/>
            <p:cNvCxnSpPr>
              <a:cxnSpLocks noChangeShapeType="1"/>
              <a:stCxn id="1067" idx="2"/>
              <a:endCxn id="1067" idx="4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9" name="AutoShape 32"/>
            <p:cNvCxnSpPr>
              <a:cxnSpLocks noChangeShapeType="1"/>
              <a:stCxn id="1067" idx="4"/>
              <a:endCxn id="1067" idx="6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2" name="LegendMoon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0757898" y="704589"/>
            <a:ext cx="955650" cy="1333050"/>
            <a:chOff x="6655594" y="273840"/>
            <a:chExt cx="702570" cy="1306516"/>
          </a:xfrm>
        </p:grpSpPr>
        <p:grpSp>
          <p:nvGrpSpPr>
            <p:cNvPr id="1047" name="MoonLegend1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</p:grpSp>
        <p:grpSp>
          <p:nvGrpSpPr>
            <p:cNvPr id="1048" name="MoonLegend2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</p:grpSp>
        <p:grpSp>
          <p:nvGrpSpPr>
            <p:cNvPr id="1049" name="MoonLegend4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</p:grpSp>
        <p:grpSp>
          <p:nvGrpSpPr>
            <p:cNvPr id="1050" name="MoonLegend5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</p:grpSp>
        <p:sp>
          <p:nvSpPr>
            <p:cNvPr id="1051" name="Legend1"/>
            <p:cNvSpPr>
              <a:spLocks noChangeArrowheads="1"/>
            </p:cNvSpPr>
            <p:nvPr/>
          </p:nvSpPr>
          <p:spPr bwMode="gray">
            <a:xfrm>
              <a:off x="6976334" y="286540"/>
              <a:ext cx="38183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52" name="Legend2"/>
            <p:cNvSpPr>
              <a:spLocks noChangeArrowheads="1"/>
            </p:cNvSpPr>
            <p:nvPr/>
          </p:nvSpPr>
          <p:spPr bwMode="gray">
            <a:xfrm>
              <a:off x="6976334" y="561178"/>
              <a:ext cx="38183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53" name="Legend3"/>
            <p:cNvSpPr>
              <a:spLocks noChangeArrowheads="1"/>
            </p:cNvSpPr>
            <p:nvPr/>
          </p:nvSpPr>
          <p:spPr bwMode="gray">
            <a:xfrm>
              <a:off x="6976334" y="835817"/>
              <a:ext cx="38183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54" name="Legend4"/>
            <p:cNvSpPr>
              <a:spLocks noChangeArrowheads="1"/>
            </p:cNvSpPr>
            <p:nvPr/>
          </p:nvSpPr>
          <p:spPr bwMode="gray">
            <a:xfrm>
              <a:off x="6976334" y="1107280"/>
              <a:ext cx="38183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sp>
          <p:nvSpPr>
            <p:cNvPr id="1055" name="Legend5"/>
            <p:cNvSpPr>
              <a:spLocks noChangeArrowheads="1"/>
            </p:cNvSpPr>
            <p:nvPr/>
          </p:nvSpPr>
          <p:spPr bwMode="gray">
            <a:xfrm>
              <a:off x="6976334" y="1383505"/>
              <a:ext cx="38183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/>
                <a:t>Legend</a:t>
              </a:r>
            </a:p>
          </p:txBody>
        </p:sp>
        <p:grpSp>
          <p:nvGrpSpPr>
            <p:cNvPr id="1056" name="MoonLegend3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+mn-lt"/>
                  <a:ea typeface="+mn-ea"/>
                </a:endParaRPr>
              </a:p>
            </p:txBody>
          </p:sp>
        </p:grpSp>
      </p:grpSp>
      <p:sp>
        <p:nvSpPr>
          <p:cNvPr id="1033" name="doc id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1887405" y="37255"/>
            <a:ext cx="65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endParaRPr lang="en-US" altLang="en-US" sz="714" smtClean="0">
              <a:solidFill>
                <a:srgbClr val="000000"/>
              </a:solidFill>
            </a:endParaRPr>
          </a:p>
        </p:txBody>
      </p:sp>
      <p:sp>
        <p:nvSpPr>
          <p:cNvPr id="70" name="Slide Number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1519789" y="6564902"/>
            <a:ext cx="158698" cy="156966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eaLnBrk="1" hangingPunct="1">
              <a:defRPr/>
            </a:pPr>
            <a:fld id="{9487600F-5152-4F66-8313-3FCF042A23D7}" type="slidenum">
              <a:rPr lang="en-US" sz="1020" b="1" smtClean="0">
                <a:solidFill>
                  <a:schemeClr val="bg1"/>
                </a:solidFill>
                <a:ea typeface="+mn-ea"/>
              </a:rPr>
              <a:pPr algn="ctr" eaLnBrk="1" hangingPunct="1">
                <a:defRPr/>
              </a:pPr>
              <a:t>‹#›</a:t>
            </a:fld>
            <a:endParaRPr lang="en-US" sz="1020" b="1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2" name="Title Placeholder 2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gray">
          <a:xfrm>
            <a:off x="161986" y="239722"/>
            <a:ext cx="9714723" cy="298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36" name="McK 1. On-page tracker" hidden="1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61986" y="4860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1428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61985" y="576630"/>
            <a:ext cx="586166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32" dirty="0" smtClean="0">
                <a:solidFill>
                  <a:srgbClr val="808080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038" name="Rectangle 286"/>
          <p:cNvSpPr>
            <a:spLocks noGrp="1" noChangeArrowheads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1976207" y="2500886"/>
            <a:ext cx="5853024" cy="125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grpSp>
        <p:nvGrpSpPr>
          <p:cNvPr id="1039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976207" y="1877285"/>
            <a:ext cx="5801189" cy="531276"/>
            <a:chOff x="915" y="702"/>
            <a:chExt cx="2686" cy="328"/>
          </a:xfrm>
        </p:grpSpPr>
        <p:cxnSp>
          <p:nvCxnSpPr>
            <p:cNvPr id="1045" name="AutoShape 249"/>
            <p:cNvCxnSpPr>
              <a:cxnSpLocks noChangeShapeType="1"/>
              <a:stCxn id="1046" idx="4"/>
              <a:endCxn id="1046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46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632" b="1" smtClean="0"/>
                <a:t>Title</a:t>
              </a:r>
            </a:p>
            <a:p>
              <a:pPr eaLnBrk="1" hangingPunct="1">
                <a:defRPr/>
              </a:pPr>
              <a:r>
                <a:rPr lang="en-US" altLang="en-US" sz="1632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040" name="McK Slide Elements" hidden="1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161985" y="6419049"/>
            <a:ext cx="10889648" cy="367682"/>
            <a:chOff x="75" y="3923"/>
            <a:chExt cx="644" cy="22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75" y="3923"/>
              <a:ext cx="644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0" dirty="0" smtClean="0"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044" name="McK 5. Source"/>
            <p:cNvSpPr>
              <a:spLocks noChangeArrowheads="1"/>
            </p:cNvSpPr>
            <p:nvPr/>
          </p:nvSpPr>
          <p:spPr bwMode="gray">
            <a:xfrm>
              <a:off x="75" y="4051"/>
              <a:ext cx="644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66725" indent="-466725" defTabSz="895350"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990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2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pic>
        <p:nvPicPr>
          <p:cNvPr id="1041" name="Picture 96"/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0412" y="103664"/>
            <a:ext cx="1505372" cy="56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8" name="Group 97"/>
          <p:cNvGrpSpPr/>
          <p:nvPr userDrawn="1"/>
        </p:nvGrpSpPr>
        <p:grpSpPr bwMode="auto">
          <a:xfrm>
            <a:off x="11309767" y="6501433"/>
            <a:ext cx="577702" cy="285419"/>
            <a:chOff x="457200" y="1291669"/>
            <a:chExt cx="8086725" cy="4063693"/>
          </a:xfrm>
          <a:solidFill>
            <a:srgbClr val="4269B8"/>
          </a:solidFill>
        </p:grpSpPr>
        <p:sp>
          <p:nvSpPr>
            <p:cNvPr id="99" name="Rounded Rectangle 98"/>
            <p:cNvSpPr/>
            <p:nvPr/>
          </p:nvSpPr>
          <p:spPr bwMode="auto">
            <a:xfrm>
              <a:off x="457200" y="2088287"/>
              <a:ext cx="8086725" cy="3267075"/>
            </a:xfrm>
            <a:prstGeom prst="round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837" err="1">
                <a:solidFill>
                  <a:srgbClr val="000000"/>
                </a:solidFill>
              </a:endParaRPr>
            </a:p>
          </p:txBody>
        </p:sp>
        <p:sp>
          <p:nvSpPr>
            <p:cNvPr id="100" name="Rectangle 99"/>
            <p:cNvSpPr/>
            <p:nvPr/>
          </p:nvSpPr>
          <p:spPr bwMode="auto">
            <a:xfrm>
              <a:off x="457200" y="4241957"/>
              <a:ext cx="914400" cy="1109516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837" err="1">
                <a:solidFill>
                  <a:srgbClr val="000000"/>
                </a:solidFill>
              </a:endParaRPr>
            </a:p>
          </p:txBody>
        </p:sp>
        <p:sp>
          <p:nvSpPr>
            <p:cNvPr id="101" name="Rounded Rectangle 100"/>
            <p:cNvSpPr/>
            <p:nvPr/>
          </p:nvSpPr>
          <p:spPr bwMode="auto">
            <a:xfrm>
              <a:off x="457200" y="1291669"/>
              <a:ext cx="8086725" cy="3267075"/>
            </a:xfrm>
            <a:prstGeom prst="round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837" err="1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7949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0" fontAlgn="base" hangingPunct="0">
        <a:spcBef>
          <a:spcPct val="0"/>
        </a:spcBef>
        <a:spcAft>
          <a:spcPct val="0"/>
        </a:spcAft>
        <a:tabLst>
          <a:tab pos="275353" algn="l"/>
        </a:tabLst>
        <a:defRPr sz="1939" b="1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  <a:lvl2pPr algn="l" defTabSz="913526" rtl="0" eaLnBrk="0" fontAlgn="base" hangingPunct="0">
        <a:spcBef>
          <a:spcPct val="0"/>
        </a:spcBef>
        <a:spcAft>
          <a:spcPct val="0"/>
        </a:spcAft>
        <a:tabLst>
          <a:tab pos="275353" algn="l"/>
        </a:tabLst>
        <a:defRPr sz="1939" b="1">
          <a:solidFill>
            <a:schemeClr val="tx2"/>
          </a:solidFill>
          <a:latin typeface="Calibri" panose="020F0502020204030204" pitchFamily="34" charset="0"/>
          <a:ea typeface="ＭＳ Ｐゴシック" panose="020B0600070205080204" pitchFamily="34" charset="-128"/>
        </a:defRPr>
      </a:lvl2pPr>
      <a:lvl3pPr algn="l" defTabSz="913526" rtl="0" eaLnBrk="0" fontAlgn="base" hangingPunct="0">
        <a:spcBef>
          <a:spcPct val="0"/>
        </a:spcBef>
        <a:spcAft>
          <a:spcPct val="0"/>
        </a:spcAft>
        <a:tabLst>
          <a:tab pos="275353" algn="l"/>
        </a:tabLst>
        <a:defRPr sz="1939" b="1">
          <a:solidFill>
            <a:schemeClr val="tx2"/>
          </a:solidFill>
          <a:latin typeface="Calibri" panose="020F0502020204030204" pitchFamily="34" charset="0"/>
          <a:ea typeface="ＭＳ Ｐゴシック" panose="020B0600070205080204" pitchFamily="34" charset="-128"/>
        </a:defRPr>
      </a:lvl3pPr>
      <a:lvl4pPr algn="l" defTabSz="913526" rtl="0" eaLnBrk="0" fontAlgn="base" hangingPunct="0">
        <a:spcBef>
          <a:spcPct val="0"/>
        </a:spcBef>
        <a:spcAft>
          <a:spcPct val="0"/>
        </a:spcAft>
        <a:tabLst>
          <a:tab pos="275353" algn="l"/>
        </a:tabLst>
        <a:defRPr sz="1939" b="1">
          <a:solidFill>
            <a:schemeClr val="tx2"/>
          </a:solidFill>
          <a:latin typeface="Calibri" panose="020F0502020204030204" pitchFamily="34" charset="0"/>
          <a:ea typeface="ＭＳ Ｐゴシック" panose="020B0600070205080204" pitchFamily="34" charset="-128"/>
        </a:defRPr>
      </a:lvl4pPr>
      <a:lvl5pPr algn="l" defTabSz="913526" rtl="0" eaLnBrk="0" fontAlgn="base" hangingPunct="0">
        <a:spcBef>
          <a:spcPct val="0"/>
        </a:spcBef>
        <a:spcAft>
          <a:spcPct val="0"/>
        </a:spcAft>
        <a:tabLst>
          <a:tab pos="275353" algn="l"/>
        </a:tabLst>
        <a:defRPr sz="1939" b="1">
          <a:solidFill>
            <a:schemeClr val="tx2"/>
          </a:solidFill>
          <a:latin typeface="Calibri" panose="020F0502020204030204" pitchFamily="34" charset="0"/>
          <a:ea typeface="ＭＳ Ｐゴシック" panose="020B0600070205080204" pitchFamily="34" charset="-128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197607" indent="-195987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32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2pPr>
      <a:lvl3pPr marL="466481" indent="-267255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32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3pPr>
      <a:lvl4pPr marL="626835" indent="-158733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32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4pPr>
      <a:lvl5pPr marL="764511" indent="-132818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32">
          <a:solidFill>
            <a:schemeClr val="tx1"/>
          </a:solidFill>
          <a:latin typeface="Calibri" panose="020F0502020204030204" pitchFamily="34" charset="0"/>
          <a:ea typeface="ＭＳ Ｐゴシック" panose="020B0600070205080204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 txBox="1">
            <a:spLocks/>
          </p:cNvSpPr>
          <p:nvPr/>
        </p:nvSpPr>
        <p:spPr bwMode="gray">
          <a:xfrm>
            <a:off x="2130553" y="6296179"/>
            <a:ext cx="994257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>
                <a:solidFill>
                  <a:schemeClr val="accent4"/>
                </a:solidFill>
                <a:latin typeface="Calibri" panose="020F0502020204030204" pitchFamily="34" charset="0"/>
                <a:ea typeface="+mj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 defTabSz="913526">
              <a:buClr>
                <a:srgbClr val="1F497D"/>
              </a:buClr>
              <a:defRPr/>
            </a:pPr>
            <a:r>
              <a:rPr lang="en-US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ik Mohd Fadhil Bin Nik Mohd Kamil</a:t>
            </a:r>
          </a:p>
          <a:p>
            <a:pPr algn="r" defTabSz="913526">
              <a:buClr>
                <a:srgbClr val="1F497D"/>
              </a:buClr>
              <a:defRPr/>
            </a:pPr>
            <a:r>
              <a:rPr lang="en-US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pping 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amp; Analysis Unit, GIS Distribution </a:t>
            </a:r>
            <a:r>
              <a:rPr lang="en-US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ject | </a:t>
            </a:r>
            <a:r>
              <a:rPr lang="en-US" sz="1600" b="1" kern="0" dirty="0" smtClean="0">
                <a:solidFill>
                  <a:srgbClr val="042C7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4 Dec 2018</a:t>
            </a:r>
            <a:endParaRPr lang="en-US" sz="1600" b="1" kern="0" dirty="0">
              <a:solidFill>
                <a:srgbClr val="042C7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gray">
          <a:xfrm>
            <a:off x="2995156" y="5193268"/>
            <a:ext cx="9077973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3265" b="1" baseline="0">
                <a:solidFill>
                  <a:schemeClr val="accent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defTabSz="913526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1939" b="1">
                <a:solidFill>
                  <a:schemeClr val="tx2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algn="l" defTabSz="913526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1939" b="1">
                <a:solidFill>
                  <a:schemeClr val="tx2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algn="l" defTabSz="913526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1939" b="1">
                <a:solidFill>
                  <a:schemeClr val="tx2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algn="l" defTabSz="913526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1939" b="1">
                <a:solidFill>
                  <a:schemeClr val="tx2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en-US" sz="2000" kern="0" cap="all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PI 2018 – </a:t>
            </a:r>
            <a:br>
              <a:rPr lang="en-US" sz="2000" kern="0" cap="all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2000" kern="0" cap="all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sessment Report for LAND PARCEL DATA IN SMALLWORLD </a:t>
            </a:r>
            <a:endParaRPr lang="en-US" sz="2400" kern="0" cap="all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6696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620" y="1002890"/>
            <a:ext cx="5183046" cy="566928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219433"/>
            <a:ext cx="12192000" cy="54864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TUS LAND PARCEL (NDCDB) UPDATED IN SW</a:t>
            </a:r>
            <a:endParaRPr lang="en-US" sz="3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0124404"/>
              </p:ext>
            </p:extLst>
          </p:nvPr>
        </p:nvGraphicFramePr>
        <p:xfrm>
          <a:off x="5604385" y="1002890"/>
          <a:ext cx="6371305" cy="566928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40248">
                  <a:extLst>
                    <a:ext uri="{9D8B030D-6E8A-4147-A177-3AD203B41FA5}">
                      <a16:colId xmlns:a16="http://schemas.microsoft.com/office/drawing/2014/main" val="1693077293"/>
                    </a:ext>
                  </a:extLst>
                </a:gridCol>
                <a:gridCol w="1947199">
                  <a:extLst>
                    <a:ext uri="{9D8B030D-6E8A-4147-A177-3AD203B41FA5}">
                      <a16:colId xmlns:a16="http://schemas.microsoft.com/office/drawing/2014/main" val="1546336422"/>
                    </a:ext>
                  </a:extLst>
                </a:gridCol>
                <a:gridCol w="3583858">
                  <a:extLst>
                    <a:ext uri="{9D8B030D-6E8A-4147-A177-3AD203B41FA5}">
                      <a16:colId xmlns:a16="http://schemas.microsoft.com/office/drawing/2014/main" val="3164420264"/>
                    </a:ext>
                  </a:extLst>
                </a:gridCol>
              </a:tblGrid>
              <a:tr h="40494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o</a:t>
                      </a:r>
                      <a:endParaRPr lang="en-US" sz="14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ate</a:t>
                      </a:r>
                      <a:endParaRPr lang="en-US" sz="14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ate </a:t>
                      </a:r>
                      <a:endParaRPr lang="en-US" sz="14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234252"/>
                  </a:ext>
                </a:extLst>
              </a:tr>
              <a:tr h="40494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Kuala Lumpur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/2/2018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4635150"/>
                  </a:ext>
                </a:extLst>
              </a:tr>
              <a:tr h="40494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utrajaya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/2/2018</a:t>
                      </a: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0678404"/>
                  </a:ext>
                </a:extLst>
              </a:tr>
              <a:tr h="40494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elangor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/2/2018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861749"/>
                  </a:ext>
                </a:extLst>
              </a:tr>
              <a:tr h="40494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egeri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Sembilan 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/1/2017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4021586"/>
                  </a:ext>
                </a:extLst>
              </a:tr>
              <a:tr h="40494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ulau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Pinang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/8/2018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9521983"/>
                  </a:ext>
                </a:extLst>
              </a:tr>
              <a:tr h="40494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Kelantan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9/8/2018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9272077"/>
                  </a:ext>
                </a:extLst>
              </a:tr>
              <a:tr h="40494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elaka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/9/2018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0869777"/>
                  </a:ext>
                </a:extLst>
              </a:tr>
              <a:tr h="40494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erlis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/12/2018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007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205377"/>
                  </a:ext>
                </a:extLst>
              </a:tr>
              <a:tr h="40494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Kedah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/1/2019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571200"/>
                  </a:ext>
                </a:extLst>
              </a:tr>
              <a:tr h="40494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ohor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/1/2019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7243101"/>
                  </a:ext>
                </a:extLst>
              </a:tr>
              <a:tr h="40494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1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rengganu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/1/2019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7120618"/>
                  </a:ext>
                </a:extLst>
              </a:tr>
              <a:tr h="40494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ahang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/3/2019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544099"/>
                  </a:ext>
                </a:extLst>
              </a:tr>
              <a:tr h="40494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3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erak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/3/2019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0786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3347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L6Qkkz6kKGmPOpLa6.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GNuqw4lE2PEkA4_Fvk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jrkqkH30e6Jt7UzxiZ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xvrBbg3U.kgrg1wFol2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GVMiDqI06manaXfIwh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UcFxQ9LUOPgklmZbZ05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48aMy_REKFePesioOI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N.X4GEj0O27y8e67V6m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KoVuKSAkuAwUggqBnYv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CIZmZSC06NQoupCYpi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xmJ7Dgf0mzk_u7sVs0D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TLvg4OBEaw7KRold4B0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C1y0adAEmlPpNnDgw3q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s3GuXbkSUf4DXwi5S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VA1IoDOEG5zzkqP8yQF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m6uPOVnUKe4y9G5Ci9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OewTOLsEWynmD9nUrT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5iXMDUA068H1HIUQaz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SS0K7Sbk.bzBIIIEKO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TLvg4OBEaw7KRold4B0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2CRC7sQ0i_iciktWpn.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PCM_CF_KLO255 V1">
  <a:themeElements>
    <a:clrScheme name="Current">
      <a:dk1>
        <a:srgbClr val="000000"/>
      </a:dk1>
      <a:lt1>
        <a:srgbClr val="FFFFFF"/>
      </a:lt1>
      <a:dk2>
        <a:srgbClr val="042C75"/>
      </a:dk2>
      <a:lt2>
        <a:srgbClr val="FFFFFF"/>
      </a:lt2>
      <a:accent1>
        <a:srgbClr val="CFDBE1"/>
      </a:accent1>
      <a:accent2>
        <a:srgbClr val="7896C4"/>
      </a:accent2>
      <a:accent3>
        <a:srgbClr val="3D61A7"/>
      </a:accent3>
      <a:accent4>
        <a:srgbClr val="042C75"/>
      </a:accent4>
      <a:accent5>
        <a:srgbClr val="FF6600"/>
      </a:accent5>
      <a:accent6>
        <a:srgbClr val="808080"/>
      </a:accent6>
      <a:hlink>
        <a:srgbClr val="3D61A7"/>
      </a:hlink>
      <a:folHlink>
        <a:srgbClr val="042C75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TPCM_CF_KLO255 V1 1">
        <a:dk1>
          <a:srgbClr val="000000"/>
        </a:dk1>
        <a:lt1>
          <a:srgbClr val="FFFFFF"/>
        </a:lt1>
        <a:dk2>
          <a:srgbClr val="042C75"/>
        </a:dk2>
        <a:lt2>
          <a:srgbClr val="FFFFFF"/>
        </a:lt2>
        <a:accent1>
          <a:srgbClr val="CFDBE1"/>
        </a:accent1>
        <a:accent2>
          <a:srgbClr val="7896C4"/>
        </a:accent2>
        <a:accent3>
          <a:srgbClr val="FFFFFF"/>
        </a:accent3>
        <a:accent4>
          <a:srgbClr val="000000"/>
        </a:accent4>
        <a:accent5>
          <a:srgbClr val="E4EAEE"/>
        </a:accent5>
        <a:accent6>
          <a:srgbClr val="6C87B1"/>
        </a:accent6>
        <a:hlink>
          <a:srgbClr val="3D61A7"/>
        </a:hlink>
        <a:folHlink>
          <a:srgbClr val="042C7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42</TotalTime>
  <Words>78</Words>
  <Application>Microsoft Office PowerPoint</Application>
  <PresentationFormat>Widescreen</PresentationFormat>
  <Paragraphs>48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ＭＳ Ｐゴシック</vt:lpstr>
      <vt:lpstr>Arial</vt:lpstr>
      <vt:lpstr>Calibri</vt:lpstr>
      <vt:lpstr>Calibri Light</vt:lpstr>
      <vt:lpstr>Verdana</vt:lpstr>
      <vt:lpstr>Office Theme</vt:lpstr>
      <vt:lpstr>TPCM_CF_KLO255 V1</vt:lpstr>
      <vt:lpstr>think-cell Slide</vt:lpstr>
      <vt:lpstr>PowerPoint Presentation</vt:lpstr>
      <vt:lpstr>STATUS LAND PARCEL (NDCDB) UPDATED IN S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k Mohd Fadhil bin Nik Mohd Kamil</dc:creator>
  <cp:lastModifiedBy>Nik Mohd Fadhil bin Nik Mohd Kamil</cp:lastModifiedBy>
  <cp:revision>120</cp:revision>
  <dcterms:created xsi:type="dcterms:W3CDTF">2018-03-14T08:07:11Z</dcterms:created>
  <dcterms:modified xsi:type="dcterms:W3CDTF">2018-12-27T08:12:30Z</dcterms:modified>
</cp:coreProperties>
</file>